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7" d="100"/>
          <a:sy n="67" d="100"/>
        </p:scale>
        <p:origin x="644" y="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5/04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5/04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haitali0301/ChaitaliResume.git" TargetMode="External"/><Relationship Id="rId7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hyperlink" Target="https://github.com/Chaitali0301/Video" TargetMode="Externa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3897195" cy="3621087"/>
          </a:xfrm>
        </p:spPr>
        <p:txBody>
          <a:bodyPr/>
          <a:lstStyle/>
          <a:p>
            <a:pPr algn="just" eaLnBrk="1" hangingPunct="1">
              <a:lnSpc>
                <a:spcPct val="114000"/>
              </a:lnSpc>
            </a:pPr>
            <a:r>
              <a:rPr lang="en-US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1. Deals and Coupons Management Application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mpleted end to end case study of Deals and Coupons Application along with JWT authentication, Swagger.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Material-UI and Bootstrap used for user interface.</a:t>
            </a:r>
            <a:endParaRPr lang="en-US" alt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US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2. Programmers Forum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rogrammers forum is an online blogging service, where most of the blogging functions are automated and provided by the blogging service.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Backend (MongoDB), Midware (Spring Boot) and Frontend (Angular) at Capgemini Degreed Platform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Learned and recompiled all concepts of the backend, midware and frontend to polish my skills to work on real –time projects. 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nl-NL" sz="1400" b="1" dirty="0">
                <a:latin typeface="Arial" panose="020B0604020202020204" pitchFamily="34" charset="0"/>
                <a:cs typeface="Arial" panose="020B0604020202020204" pitchFamily="34" charset="0"/>
              </a:rPr>
              <a:t>FULL STACK DEVELOPER</a:t>
            </a:r>
            <a:endParaRPr lang="en-US" altLang="nl-NL" sz="1400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4199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53706" y="1363663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Pun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95643" y="1574763"/>
            <a:ext cx="3870514" cy="295274"/>
          </a:xfrm>
        </p:spPr>
        <p:txBody>
          <a:bodyPr/>
          <a:lstStyle/>
          <a:p>
            <a:pPr eaLnBrk="1" hangingPunct="1"/>
            <a:r>
              <a:rPr lang="nl-NL" altLang="nl-NL" dirty="0"/>
              <a:t>chaitali.lakshman-chaudhari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16809" y="1847851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9028715861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53860" y="3094870"/>
            <a:ext cx="3869932" cy="3621087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ands on experience on Traditional web development applications of </a:t>
            </a:r>
            <a:r>
              <a:rPr lang="en-US" altLang="en-US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Outsystems</a:t>
            </a:r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ands on experience in creating </a:t>
            </a:r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microservices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with </a:t>
            </a:r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pring boot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pring Security, Spring cloud API Gateway</a:t>
            </a: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Eureka Server, Post Man, Swagger AP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nl-NL" sz="1200" dirty="0">
                <a:latin typeface="Arial" panose="020B0604020202020204" pitchFamily="34" charset="0"/>
                <a:cs typeface="Arial" panose="020B0604020202020204" pitchFamily="34" charset="0"/>
              </a:rPr>
              <a:t>Experience in creating documentation with Java docs and swagger and in Unit testing using Junit and Mockito.</a:t>
            </a:r>
            <a:br>
              <a:rPr lang="en-US" altLang="nl-NL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nl-N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1881" y="568324"/>
            <a:ext cx="2890120" cy="6605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aster of Computer Science :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2015 - 2020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endParaRPr lang="en-US" altLang="en-US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 err="1">
                <a:latin typeface="Arial" panose="020B0604020202020204" pitchFamily="34" charset="0"/>
                <a:cs typeface="Arial" panose="020B0604020202020204" pitchFamily="34" charset="0"/>
              </a:rPr>
              <a:t>OutSystems</a:t>
            </a:r>
            <a:endParaRPr lang="en-US" altLang="en-US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ava 8/ J2E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Boot,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Security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PA CRUD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2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N Stack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Angula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de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SQL database – My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Technologie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HTML5 &amp; 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ypescript &amp; ES6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On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>
                <a:latin typeface="Arial" panose="020B0604020202020204" pitchFamily="34" charset="0"/>
                <a:cs typeface="Arial" panose="020B0604020202020204" pitchFamily="34" charset="0"/>
              </a:rPr>
              <a:t>Chaitali Lakshman Chaudhari</a:t>
            </a:r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4314184" y="6283419"/>
            <a:ext cx="432537" cy="43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3690" y="6283419"/>
            <a:ext cx="437805" cy="436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63974" y="1965949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75CC6AC0-1EF4-44BA-9D86-675E0224A2B5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42" b="8342"/>
          <a:stretch/>
        </p:blipFill>
        <p:spPr>
          <a:xfrm>
            <a:off x="353860" y="290513"/>
            <a:ext cx="1734208" cy="1735628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0848</TotalTime>
  <Words>264</Words>
  <Application>Microsoft Office PowerPoint</Application>
  <PresentationFormat>Widescreen</PresentationFormat>
  <Paragraphs>6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Lakshman Chaudhari, Chaitali</cp:lastModifiedBy>
  <cp:revision>107</cp:revision>
  <dcterms:created xsi:type="dcterms:W3CDTF">2017-12-08T05:27:40Z</dcterms:created>
  <dcterms:modified xsi:type="dcterms:W3CDTF">2022-04-25T06:2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